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849" r:id="rId4"/>
    <p:sldMasterId id="2147483880" r:id="rId5"/>
  </p:sldMasterIdLst>
  <p:notesMasterIdLst>
    <p:notesMasterId r:id="rId7"/>
  </p:notesMasterIdLst>
  <p:handoutMasterIdLst>
    <p:handoutMasterId r:id="rId8"/>
  </p:handoutMasterIdLst>
  <p:sldIdLst>
    <p:sldId id="256" r:id="rId6"/>
  </p:sldIdLst>
  <p:sldSz cx="12192000" cy="6858000"/>
  <p:notesSz cx="7010400" cy="9296400"/>
  <p:custDataLst>
    <p:tags r:id="rId9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1pPr>
    <a:lvl2pPr marL="291528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2pPr>
    <a:lvl3pPr marL="583056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3pPr>
    <a:lvl4pPr marL="874585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4pPr>
    <a:lvl5pPr marL="1166114" algn="ctr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5pPr>
    <a:lvl6pPr marL="1457641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6pPr>
    <a:lvl7pPr marL="1749170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7pPr>
    <a:lvl8pPr marL="2040698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8pPr>
    <a:lvl9pPr marL="2332226" algn="l" defTabSz="58305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36" userDrawn="1">
          <p15:clr>
            <a:srgbClr val="A4A3A4"/>
          </p15:clr>
        </p15:guide>
        <p15:guide id="3" orient="horz" pos="840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7" pos="3984" userDrawn="1">
          <p15:clr>
            <a:srgbClr val="A4A3A4"/>
          </p15:clr>
        </p15:guide>
        <p15:guide id="11" orient="horz" pos="3096" userDrawn="1">
          <p15:clr>
            <a:srgbClr val="A4A3A4"/>
          </p15:clr>
        </p15:guide>
        <p15:guide id="15" orient="horz" pos="2088" userDrawn="1">
          <p15:clr>
            <a:srgbClr val="A4A3A4"/>
          </p15:clr>
        </p15:guide>
        <p15:guide id="17" orient="horz" pos="3624" userDrawn="1">
          <p15:clr>
            <a:srgbClr val="A4A3A4"/>
          </p15:clr>
        </p15:guide>
        <p15:guide id="18" orient="horz" pos="1368" userDrawn="1">
          <p15:clr>
            <a:srgbClr val="A4A3A4"/>
          </p15:clr>
        </p15:guide>
        <p15:guide id="21" orient="horz" pos="2472" userDrawn="1">
          <p15:clr>
            <a:srgbClr val="A4A3A4"/>
          </p15:clr>
        </p15:guide>
        <p15:guide id="25" pos="5664" userDrawn="1">
          <p15:clr>
            <a:srgbClr val="A4A3A4"/>
          </p15:clr>
        </p15:guide>
        <p15:guide id="26" pos="70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24242"/>
    <a:srgbClr val="2E2E2E"/>
    <a:srgbClr val="A5A5A5"/>
    <a:srgbClr val="1B1B1B"/>
    <a:srgbClr val="00AEEF"/>
    <a:srgbClr val="242D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39" autoAdjust="0"/>
    <p:restoredTop sz="50000" autoAdjust="0"/>
  </p:normalViewPr>
  <p:slideViewPr>
    <p:cSldViewPr snapToGrid="0">
      <p:cViewPr varScale="1">
        <p:scale>
          <a:sx n="93" d="100"/>
          <a:sy n="93" d="100"/>
        </p:scale>
        <p:origin x="67" y="125"/>
      </p:cViewPr>
      <p:guideLst>
        <p:guide orient="horz" pos="3936"/>
        <p:guide orient="horz" pos="840"/>
        <p:guide pos="3840"/>
        <p:guide pos="3984"/>
        <p:guide orient="horz" pos="3096"/>
        <p:guide orient="horz" pos="2088"/>
        <p:guide orient="horz" pos="3624"/>
        <p:guide orient="horz" pos="1368"/>
        <p:guide orient="horz" pos="2472"/>
        <p:guide pos="5664"/>
        <p:guide pos="70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46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E28D72-4025-431C-8D57-0B5AB3027359}" type="datetimeFigureOut">
              <a:rPr lang="en-US" smtClean="0"/>
              <a:t>4/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073797-3F69-42D0-A256-D1B9E5A007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5003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BE4712-1341-4BAD-BD21-6ECE0BEF80F7}" type="datetimeFigureOut">
              <a:rPr lang="en-US" smtClean="0"/>
              <a:t>4/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6" y="4473577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7B7794-FCAB-4C1B-88F8-EB6E069BD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437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NUL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AE22F4-72AA-4FB5-BE0E-B324327A7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en-US" dirty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FA312D-83C2-48E4-B7FE-8D7C98A749F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24000" y="1143000"/>
            <a:ext cx="9144000" cy="5029200"/>
          </a:xfrm>
        </p:spPr>
        <p:txBody>
          <a:bodyPr/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96195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ligh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0150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hit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876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ack cover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E8883A1-43C5-4BE1-3543-EBF3C132AE01}"/>
              </a:ext>
            </a:extLst>
          </p:cNvPr>
          <p:cNvGrpSpPr/>
          <p:nvPr userDrawn="1"/>
        </p:nvGrpSpPr>
        <p:grpSpPr>
          <a:xfrm>
            <a:off x="152400" y="228600"/>
            <a:ext cx="11887200" cy="6400800"/>
            <a:chOff x="152400" y="228600"/>
            <a:chExt cx="11887200" cy="6400800"/>
          </a:xfrm>
        </p:grpSpPr>
        <p:pic>
          <p:nvPicPr>
            <p:cNvPr id="2" name="Graphic 1">
              <a:extLst>
                <a:ext uri="{FF2B5EF4-FFF2-40B4-BE49-F238E27FC236}">
                  <a16:creationId xmlns:a16="http://schemas.microsoft.com/office/drawing/2014/main" id="{B9EC8CDC-727B-C667-F8DC-4F20038730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89960" y="822960"/>
              <a:ext cx="5212080" cy="5212080"/>
            </a:xfrm>
            <a:custGeom>
              <a:avLst/>
              <a:gdLst>
                <a:gd name="connsiteX0" fmla="*/ 0 w 3219450"/>
                <a:gd name="connsiteY0" fmla="*/ 0 h 3219450"/>
                <a:gd name="connsiteX1" fmla="*/ 3219450 w 3219450"/>
                <a:gd name="connsiteY1" fmla="*/ 0 h 3219450"/>
                <a:gd name="connsiteX2" fmla="*/ 3219450 w 3219450"/>
                <a:gd name="connsiteY2" fmla="*/ 3219450 h 3219450"/>
                <a:gd name="connsiteX3" fmla="*/ 0 w 3219450"/>
                <a:gd name="connsiteY3" fmla="*/ 3219450 h 321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9450" h="3219450">
                  <a:moveTo>
                    <a:pt x="0" y="0"/>
                  </a:moveTo>
                  <a:lnTo>
                    <a:pt x="3219450" y="0"/>
                  </a:lnTo>
                  <a:lnTo>
                    <a:pt x="3219450" y="3219450"/>
                  </a:lnTo>
                  <a:lnTo>
                    <a:pt x="0" y="3219450"/>
                  </a:lnTo>
                  <a:close/>
                </a:path>
              </a:pathLst>
            </a:cu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D35E384-A88C-0F86-E3FF-10A5EE6D809D}"/>
                </a:ext>
              </a:extLst>
            </p:cNvPr>
            <p:cNvSpPr/>
            <p:nvPr userDrawn="1"/>
          </p:nvSpPr>
          <p:spPr>
            <a:xfrm>
              <a:off x="152400" y="228600"/>
              <a:ext cx="11887200" cy="6400800"/>
            </a:xfrm>
            <a:prstGeom prst="rect">
              <a:avLst/>
            </a:prstGeom>
            <a:solidFill>
              <a:srgbClr val="1B1B1B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086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685800"/>
            <a:ext cx="10972800" cy="228600"/>
          </a:xfrm>
          <a:prstGeom prst="rect">
            <a:avLst/>
          </a:prstGeom>
        </p:spPr>
        <p:txBody>
          <a:bodyPr wrap="none" tIns="0" anchor="t" anchorCtr="0">
            <a:noAutofit/>
          </a:bodyPr>
          <a:lstStyle>
            <a:lvl1pPr marL="0" indent="0" algn="ctr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755DBAD-3929-4101-8F5B-1B02C409F50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24000" y="1143000"/>
            <a:ext cx="9144000" cy="5029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02966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idx="10"/>
          </p:nvPr>
        </p:nvSpPr>
        <p:spPr bwMode="gray">
          <a:xfrm>
            <a:off x="6336152" y="1143000"/>
            <a:ext cx="52578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CAD131-3B6F-4C86-AA39-414D3EC20B35}"/>
              </a:ext>
            </a:extLst>
          </p:cNvPr>
          <p:cNvSpPr>
            <a:spLocks noGrp="1"/>
          </p:cNvSpPr>
          <p:nvPr>
            <p:ph idx="11"/>
          </p:nvPr>
        </p:nvSpPr>
        <p:spPr bwMode="gray">
          <a:xfrm>
            <a:off x="609600" y="1143000"/>
            <a:ext cx="52578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88773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084197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9"/>
          <p:cNvSpPr>
            <a:spLocks noGrp="1"/>
          </p:cNvSpPr>
          <p:nvPr>
            <p:ph idx="1" hasCustomPrompt="1"/>
          </p:nvPr>
        </p:nvSpPr>
        <p:spPr bwMode="gray">
          <a:xfrm>
            <a:off x="613294" y="1828800"/>
            <a:ext cx="5257800" cy="43434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Bullets Arial 20pt regula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idx="10" hasCustomPrompt="1"/>
          </p:nvPr>
        </p:nvSpPr>
        <p:spPr bwMode="gray">
          <a:xfrm>
            <a:off x="6320908" y="1828800"/>
            <a:ext cx="5257800" cy="4343400"/>
          </a:xfrm>
          <a:prstGeom prst="rect">
            <a:avLst/>
          </a:prstGeom>
        </p:spPr>
        <p:txBody>
          <a:bodyPr vert="horz" wrap="square" lIns="45720" tIns="45720" rIns="45720" bIns="45720" rtlCol="0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</a:lstStyle>
          <a:p>
            <a:pPr lvl="0"/>
            <a:r>
              <a:rPr lang="en-US" dirty="0"/>
              <a:t>Bullets Arial 20pt regula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143000"/>
            <a:ext cx="5257800" cy="457200"/>
          </a:xfrm>
          <a:prstGeom prst="rect">
            <a:avLst/>
          </a:prstGeom>
        </p:spPr>
        <p:txBody>
          <a:bodyPr wrap="none" anchor="b" anchorCtr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s in sentence cas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327829" y="1143000"/>
            <a:ext cx="5257800" cy="457200"/>
          </a:xfrm>
          <a:prstGeom prst="rect">
            <a:avLst/>
          </a:prstGeom>
        </p:spPr>
        <p:txBody>
          <a:bodyPr wrap="none" anchor="b" anchorCtr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s in sentence cas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605147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180696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9A18C-6E0D-4526-8D99-9515492F62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1669945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bg>
      <p:bgPr>
        <a:gradFill>
          <a:gsLst>
            <a:gs pos="0">
              <a:srgbClr val="1B1B1B"/>
            </a:gs>
            <a:gs pos="100000">
              <a:srgbClr val="2E2E2E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828800"/>
            <a:ext cx="10058400" cy="1371600"/>
          </a:xfrm>
        </p:spPr>
        <p:txBody>
          <a:bodyPr anchor="b" anchorCtr="0"/>
          <a:lstStyle>
            <a:lvl1pPr marL="0" indent="0" algn="l">
              <a:lnSpc>
                <a:spcPts val="4200"/>
              </a:lnSpc>
              <a:buFontTx/>
              <a:buNone/>
              <a:defRPr sz="4000" b="1" cap="none" spc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 presentation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3200400"/>
            <a:ext cx="10058400" cy="609600"/>
          </a:xfrm>
        </p:spPr>
        <p:txBody>
          <a:bodyPr lIns="137160"/>
          <a:lstStyle>
            <a:lvl1pPr marL="0" indent="0" algn="l">
              <a:lnSpc>
                <a:spcPts val="1600"/>
              </a:lnSpc>
              <a:buNone/>
              <a:defRPr sz="1600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subtitle or dat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77EDE88-9AD7-40DD-A238-4AA4F01446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5760" y="5853553"/>
            <a:ext cx="3200400" cy="640080"/>
          </a:xfrm>
        </p:spPr>
        <p:txBody>
          <a:bodyPr wrap="none" lIns="0" tIns="0" rIns="0" bIns="0" anchor="ctr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A3150CA0-0546-2624-32F0-95DF1C1D36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28800" y="5852010"/>
            <a:ext cx="3200400" cy="640080"/>
          </a:xfrm>
        </p:spPr>
        <p:txBody>
          <a:bodyPr wrap="none"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1" i="0" baseline="0">
                <a:solidFill>
                  <a:schemeClr val="tx1">
                    <a:lumMod val="50000"/>
                  </a:schemeClr>
                </a:solidFill>
              </a:defRPr>
            </a:lvl1pPr>
            <a:lvl5pPr marL="914377" indent="0">
              <a:buNone/>
              <a:defRPr/>
            </a:lvl5pPr>
          </a:lstStyle>
          <a:p>
            <a:pPr lvl="0"/>
            <a:r>
              <a:rPr lang="en-US" dirty="0"/>
              <a:t>FacioQuo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B765C3A-3939-E3A5-8E42-99B0A92A5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5840" y="5852160"/>
            <a:ext cx="640080" cy="640080"/>
          </a:xfrm>
          <a:custGeom>
            <a:avLst/>
            <a:gdLst>
              <a:gd name="connsiteX0" fmla="*/ 0 w 3219450"/>
              <a:gd name="connsiteY0" fmla="*/ 0 h 3219450"/>
              <a:gd name="connsiteX1" fmla="*/ 3219450 w 3219450"/>
              <a:gd name="connsiteY1" fmla="*/ 0 h 3219450"/>
              <a:gd name="connsiteX2" fmla="*/ 3219450 w 3219450"/>
              <a:gd name="connsiteY2" fmla="*/ 3219450 h 3219450"/>
              <a:gd name="connsiteX3" fmla="*/ 0 w 3219450"/>
              <a:gd name="connsiteY3" fmla="*/ 3219450 h 321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9450" h="3219450">
                <a:moveTo>
                  <a:pt x="0" y="0"/>
                </a:moveTo>
                <a:lnTo>
                  <a:pt x="3219450" y="0"/>
                </a:lnTo>
                <a:lnTo>
                  <a:pt x="3219450" y="3219450"/>
                </a:lnTo>
                <a:lnTo>
                  <a:pt x="0" y="3219450"/>
                </a:lnTo>
                <a:close/>
              </a:path>
            </a:pathLst>
          </a:cu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38333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8" userDrawn="1">
          <p15:clr>
            <a:srgbClr val="FBAE40"/>
          </p15:clr>
        </p15:guide>
        <p15:guide id="2" pos="38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rgbClr val="4242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2971800"/>
            <a:ext cx="10972800" cy="914400"/>
          </a:xfrm>
          <a:noFill/>
        </p:spPr>
        <p:txBody>
          <a:bodyPr anchor="ctr" anchorCtr="0"/>
          <a:lstStyle>
            <a:lvl1pPr marL="0" indent="0" algn="ctr">
              <a:lnSpc>
                <a:spcPts val="4200"/>
              </a:lnSpc>
              <a:buFontTx/>
              <a:buNone/>
              <a:defRPr sz="3200" b="1" cap="none" spc="0" baseline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D0F058C-7D79-4F19-B04F-E57B43855334}"/>
              </a:ext>
            </a:extLst>
          </p:cNvPr>
          <p:cNvCxnSpPr/>
          <p:nvPr userDrawn="1"/>
        </p:nvCxnSpPr>
        <p:spPr>
          <a:xfrm>
            <a:off x="5181600" y="3886200"/>
            <a:ext cx="1828800" cy="0"/>
          </a:xfrm>
          <a:prstGeom prst="line">
            <a:avLst/>
          </a:prstGeom>
          <a:ln w="25400">
            <a:solidFill>
              <a:schemeClr val="tx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6534714-BC2B-4123-818C-EFE1F017DA89}"/>
              </a:ext>
            </a:extLst>
          </p:cNvPr>
          <p:cNvCxnSpPr/>
          <p:nvPr userDrawn="1"/>
        </p:nvCxnSpPr>
        <p:spPr>
          <a:xfrm>
            <a:off x="5181600" y="2971800"/>
            <a:ext cx="1828800" cy="0"/>
          </a:xfrm>
          <a:prstGeom prst="line">
            <a:avLst/>
          </a:prstGeom>
          <a:ln w="25400">
            <a:solidFill>
              <a:schemeClr val="tx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6352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88" userDrawn="1">
          <p15:clr>
            <a:srgbClr val="FBAE40"/>
          </p15:clr>
        </p15:guide>
        <p15:guide id="2" pos="3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0533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image" Target="NUL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4613978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/>
          <p:cNvSpPr>
            <a:spLocks noGrp="1"/>
          </p:cNvSpPr>
          <p:nvPr>
            <p:ph type="title"/>
          </p:nvPr>
        </p:nvSpPr>
        <p:spPr bwMode="gray">
          <a:xfrm>
            <a:off x="609600" y="0"/>
            <a:ext cx="10972800" cy="685800"/>
          </a:xfrm>
          <a:prstGeom prst="rect">
            <a:avLst/>
          </a:prstGeom>
        </p:spPr>
        <p:txBody>
          <a:bodyPr vert="horz" wrap="none" lIns="45720" tIns="45720" rIns="45720" bIns="0" rtlCol="0" anchor="b" anchorCtr="0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 bwMode="gray">
          <a:xfrm>
            <a:off x="1524000" y="1143000"/>
            <a:ext cx="9144000" cy="5029200"/>
          </a:xfrm>
          <a:prstGeom prst="rect">
            <a:avLst/>
          </a:prstGeom>
        </p:spPr>
        <p:txBody>
          <a:bodyPr vert="horz" wrap="square" lIns="45720" tIns="45720" rIns="45720" bIns="45720" rtlCol="0">
            <a:normAutofit/>
          </a:bodyPr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Box 3"/>
          <p:cNvSpPr txBox="1"/>
          <p:nvPr/>
        </p:nvSpPr>
        <p:spPr bwMode="gray">
          <a:xfrm>
            <a:off x="10210800" y="6494778"/>
            <a:ext cx="1371600" cy="2286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ts val="400"/>
              </a:spcBef>
            </a:pPr>
            <a:r>
              <a:rPr lang="en-US" sz="1000" b="1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ve Skender | </a:t>
            </a:r>
            <a:fld id="{E1D923BE-A2C3-46EB-9F2A-1637F46F0D65}" type="slidenum">
              <a:rPr lang="en-US" sz="1000" b="1" baseline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>
                <a:spcBef>
                  <a:spcPts val="400"/>
                </a:spcBef>
              </a:pPr>
              <a:t>‹#›</a:t>
            </a:fld>
            <a:endParaRPr lang="en-US" sz="1000" b="1" baseline="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0F19994-55CF-18AB-673B-927EDB36577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2648" y="6492240"/>
            <a:ext cx="228600" cy="228600"/>
          </a:xfrm>
          <a:custGeom>
            <a:avLst/>
            <a:gdLst>
              <a:gd name="connsiteX0" fmla="*/ 0 w 3219450"/>
              <a:gd name="connsiteY0" fmla="*/ 0 h 3219450"/>
              <a:gd name="connsiteX1" fmla="*/ 3219450 w 3219450"/>
              <a:gd name="connsiteY1" fmla="*/ 0 h 3219450"/>
              <a:gd name="connsiteX2" fmla="*/ 3219450 w 3219450"/>
              <a:gd name="connsiteY2" fmla="*/ 3219450 h 3219450"/>
              <a:gd name="connsiteX3" fmla="*/ 0 w 3219450"/>
              <a:gd name="connsiteY3" fmla="*/ 3219450 h 321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19450" h="3219450">
                <a:moveTo>
                  <a:pt x="0" y="0"/>
                </a:moveTo>
                <a:lnTo>
                  <a:pt x="3219450" y="0"/>
                </a:lnTo>
                <a:lnTo>
                  <a:pt x="3219450" y="3219450"/>
                </a:lnTo>
                <a:lnTo>
                  <a:pt x="0" y="3219450"/>
                </a:lnTo>
                <a:close/>
              </a:path>
            </a:pathLst>
          </a:cu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461EE69-E4B3-0015-33D3-2B6A55185FD1}"/>
              </a:ext>
            </a:extLst>
          </p:cNvPr>
          <p:cNvSpPr txBox="1"/>
          <p:nvPr userDrawn="1"/>
        </p:nvSpPr>
        <p:spPr bwMode="gray">
          <a:xfrm>
            <a:off x="914400" y="6494778"/>
            <a:ext cx="685800" cy="2286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l">
              <a:spcBef>
                <a:spcPts val="400"/>
              </a:spcBef>
            </a:pPr>
            <a:r>
              <a:rPr lang="en-US" sz="1000" b="1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cioQuo </a:t>
            </a:r>
          </a:p>
        </p:txBody>
      </p:sp>
    </p:spTree>
    <p:extLst>
      <p:ext uri="{BB962C8B-B14F-4D97-AF65-F5344CB8AC3E}">
        <p14:creationId xmlns:p14="http://schemas.microsoft.com/office/powerpoint/2010/main" val="1489722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1" r:id="rId2"/>
    <p:sldLayoutId id="2147483856" r:id="rId3"/>
    <p:sldLayoutId id="2147483857" r:id="rId4"/>
    <p:sldLayoutId id="2147483855" r:id="rId5"/>
    <p:sldLayoutId id="2147483859" r:id="rId6"/>
  </p:sldLayoutIdLst>
  <p:hf hdr="0" ftr="0" dt="0"/>
  <p:txStyles>
    <p:titleStyle>
      <a:lvl1pPr algn="ctr" defTabSz="933271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 spc="0" baseline="0">
          <a:solidFill>
            <a:schemeClr val="tx1">
              <a:lumMod val="65000"/>
              <a:lumOff val="35000"/>
            </a:schemeClr>
          </a:solidFill>
          <a:effectLst/>
          <a:latin typeface="+mj-lt"/>
          <a:ea typeface="+mj-ea"/>
          <a:cs typeface="Calibri" panose="020F0502020204030204" pitchFamily="34" charset="0"/>
        </a:defRPr>
      </a:lvl1pPr>
      <a:lvl2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291521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583041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874563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166086" algn="ctr" defTabSz="933271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233357" indent="-233357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200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Arial" pitchFamily="34" charset="0"/>
        </a:defRPr>
      </a:lvl1pPr>
      <a:lvl2pPr marL="450839" indent="-227008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18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2pPr>
      <a:lvl3pPr marL="692133" indent="-223833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tabLst/>
        <a:defRPr sz="16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3pPr>
      <a:lvl4pPr marL="915965" indent="-230182" algn="l" defTabSz="933271" rtl="0" eaLnBrk="1" fontAlgn="base" hangingPunct="1">
        <a:lnSpc>
          <a:spcPct val="100000"/>
        </a:lnSpc>
        <a:spcBef>
          <a:spcPts val="1200"/>
        </a:spcBef>
        <a:spcAft>
          <a:spcPts val="0"/>
        </a:spcAft>
        <a:buFont typeface="Wingdings" panose="05000000000000000000" pitchFamily="2" charset="2"/>
        <a:buChar char="§"/>
        <a:defRPr sz="1400" baseline="0">
          <a:solidFill>
            <a:schemeClr val="tx1">
              <a:lumMod val="50000"/>
              <a:lumOff val="50000"/>
            </a:schemeClr>
          </a:solidFill>
          <a:latin typeface="+mn-lt"/>
          <a:cs typeface="Arial" pitchFamily="34" charset="0"/>
        </a:defRPr>
      </a:lvl4pPr>
      <a:lvl5pPr marL="1147734" indent="-233357" algn="l" defTabSz="933271" rtl="0" eaLnBrk="1" fontAlgn="base" hangingPunct="1">
        <a:spcBef>
          <a:spcPts val="600"/>
        </a:spcBef>
        <a:spcAft>
          <a:spcPts val="0"/>
        </a:spcAft>
        <a:buFont typeface="Arial" pitchFamily="34" charset="0"/>
        <a:buChar char="•"/>
        <a:defRPr sz="1400" baseline="0">
          <a:solidFill>
            <a:schemeClr val="tx1"/>
          </a:solidFill>
          <a:latin typeface="+mn-lt"/>
          <a:cs typeface="Arial" pitchFamily="34" charset="0"/>
        </a:defRPr>
      </a:lvl5pPr>
      <a:lvl6pPr marL="2390878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682398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2973919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265440" indent="-233825" algn="l" defTabSz="933271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91521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83041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74563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66086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457605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749127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040648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332168" algn="l" defTabSz="58304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4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pos="7296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1B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2859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89" r:id="rId2"/>
    <p:sldLayoutId id="2147483887" r:id="rId3"/>
    <p:sldLayoutId id="2147483888" r:id="rId4"/>
    <p:sldLayoutId id="2147483891" r:id="rId5"/>
    <p:sldLayoutId id="214748389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BB68B3B3-6A98-9EFC-7D3D-5A88620F9E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81000"/>
            <a:ext cx="12192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3658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">
  <a:themeElements>
    <a:clrScheme name="Skender Co.">
      <a:dk1>
        <a:srgbClr val="1B1B1B"/>
      </a:dk1>
      <a:lt1>
        <a:srgbClr val="E0E0E0"/>
      </a:lt1>
      <a:dk2>
        <a:srgbClr val="424242"/>
      </a:dk2>
      <a:lt2>
        <a:srgbClr val="E0E0E0"/>
      </a:lt2>
      <a:accent1>
        <a:srgbClr val="0B0B0B"/>
      </a:accent1>
      <a:accent2>
        <a:srgbClr val="2E2E2E"/>
      </a:accent2>
      <a:accent3>
        <a:srgbClr val="424242"/>
      </a:accent3>
      <a:accent4>
        <a:srgbClr val="A9A9A9"/>
      </a:accent4>
      <a:accent5>
        <a:srgbClr val="BFBFBF"/>
      </a:accent5>
      <a:accent6>
        <a:srgbClr val="E6C74C"/>
      </a:accent6>
      <a:hlink>
        <a:srgbClr val="BFBFBF"/>
      </a:hlink>
      <a:folHlink>
        <a:srgbClr val="BFBFBF"/>
      </a:folHlink>
    </a:clrScheme>
    <a:fontScheme name="Skender Co (Rubik)">
      <a:majorFont>
        <a:latin typeface="Rubik SemiBold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algn="l" defTabSz="1463675">
          <a:defRPr sz="1200" dirty="0" smtClean="0">
            <a:solidFill>
              <a:schemeClr val="bg1"/>
            </a:solidFill>
            <a:latin typeface="+mn-lt"/>
          </a:defRPr>
        </a:defPPr>
      </a:lstStyle>
    </a:spDef>
    <a:lnDef>
      <a:spPr bwMode="gray">
        <a:solidFill>
          <a:schemeClr val="accent1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 bwMode="gray">
        <a:noFill/>
      </a:spPr>
      <a:bodyPr wrap="square" lIns="45720" rIns="45720" rtlCol="0">
        <a:noAutofit/>
      </a:bodyPr>
      <a:lstStyle>
        <a:defPPr algn="l">
          <a:spcBef>
            <a:spcPts val="400"/>
          </a:spcBef>
          <a:defRPr sz="1200" dirty="0" err="1" smtClean="0">
            <a:latin typeface="+mn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kender Co (template).potx" id="{2E85E527-4207-4D0A-A88B-13D6CD1FE846}" vid="{AFA3B420-D9CD-4736-9686-087912A8F74A}"/>
    </a:ext>
  </a:extLst>
</a:theme>
</file>

<file path=ppt/theme/theme2.xml><?xml version="1.0" encoding="utf-8"?>
<a:theme xmlns:a="http://schemas.openxmlformats.org/drawingml/2006/main" name="Non-standard">
  <a:themeElements>
    <a:clrScheme name="Skender Co.">
      <a:dk1>
        <a:srgbClr val="1B1B1B"/>
      </a:dk1>
      <a:lt1>
        <a:srgbClr val="E0E0E0"/>
      </a:lt1>
      <a:dk2>
        <a:srgbClr val="424242"/>
      </a:dk2>
      <a:lt2>
        <a:srgbClr val="E0E0E0"/>
      </a:lt2>
      <a:accent1>
        <a:srgbClr val="0B0B0B"/>
      </a:accent1>
      <a:accent2>
        <a:srgbClr val="2E2E2E"/>
      </a:accent2>
      <a:accent3>
        <a:srgbClr val="424242"/>
      </a:accent3>
      <a:accent4>
        <a:srgbClr val="A9A9A9"/>
      </a:accent4>
      <a:accent5>
        <a:srgbClr val="BFBFBF"/>
      </a:accent5>
      <a:accent6>
        <a:srgbClr val="E6C74C"/>
      </a:accent6>
      <a:hlink>
        <a:srgbClr val="BFBFBF"/>
      </a:hlink>
      <a:folHlink>
        <a:srgbClr val="BFBFBF"/>
      </a:folHlink>
    </a:clrScheme>
    <a:fontScheme name="Skender Co (Rubik)">
      <a:majorFont>
        <a:latin typeface="Rubik SemiBold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nder Co (template).potx" id="{2E85E527-4207-4D0A-A88B-13D6CD1FE846}" vid="{2ABE183F-5748-4567-BDB2-A472F1B7C98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B4757EC12A854C8DEA0C333993F13C" ma:contentTypeVersion="13" ma:contentTypeDescription="Create a new document." ma:contentTypeScope="" ma:versionID="db3d97e74dda74a173567f15a2b61500">
  <xsd:schema xmlns:xsd="http://www.w3.org/2001/XMLSchema" xmlns:xs="http://www.w3.org/2001/XMLSchema" xmlns:p="http://schemas.microsoft.com/office/2006/metadata/properties" xmlns:ns3="62bc8c9b-251f-48fe-a6ec-75d721adcbf9" xmlns:ns4="a65e1435-cce4-4b60-b931-95dd04145ae4" targetNamespace="http://schemas.microsoft.com/office/2006/metadata/properties" ma:root="true" ma:fieldsID="412c3fbb7bb3dcdeed5de1dfaf3b4a91" ns3:_="" ns4:_="">
    <xsd:import namespace="62bc8c9b-251f-48fe-a6ec-75d721adcbf9"/>
    <xsd:import namespace="a65e1435-cce4-4b60-b931-95dd04145ae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bc8c9b-251f-48fe-a6ec-75d721adcbf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e1435-cce4-4b60-b931-95dd04145a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14BA3A2-63E0-4B7F-B3DE-3A95B2486FE0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a65e1435-cce4-4b60-b931-95dd04145ae4"/>
    <ds:schemaRef ds:uri="62bc8c9b-251f-48fe-a6ec-75d721adcbf9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ECA07D6-AC64-4A5D-96F4-BCC52FC6FA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bc8c9b-251f-48fe-a6ec-75d721adcbf9"/>
    <ds:schemaRef ds:uri="a65e1435-cce4-4b60-b931-95dd04145a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410E9E-9826-4829-BED7-2515B80346D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Microsoft Office PowerPoint</Application>
  <PresentationFormat>Widescreen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Rubik</vt:lpstr>
      <vt:lpstr>Rubik SemiBold</vt:lpstr>
      <vt:lpstr>Wingdings</vt:lpstr>
      <vt:lpstr>Standard</vt:lpstr>
      <vt:lpstr>Non-standard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9-26T15:19:01Z</dcterms:created>
  <dcterms:modified xsi:type="dcterms:W3CDTF">2024-04-07T05:0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B4757EC12A854C8DEA0C333993F13C</vt:lpwstr>
  </property>
</Properties>
</file>